
<file path=[Content_Types].xml><?xml version="1.0" encoding="utf-8"?>
<Types xmlns="http://schemas.openxmlformats.org/package/2006/content-types"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5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6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7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959" r:id="rId5"/>
    <p:sldMasterId id="2147483823" r:id="rId6"/>
    <p:sldMasterId id="2147483853" r:id="rId7"/>
    <p:sldMasterId id="2147483876" r:id="rId8"/>
    <p:sldMasterId id="2147483901" r:id="rId9"/>
    <p:sldMasterId id="2147483928" r:id="rId10"/>
    <p:sldMasterId id="2147483952" r:id="rId11"/>
  </p:sldMasterIdLst>
  <p:handoutMasterIdLst>
    <p:handoutMasterId r:id="rId15"/>
  </p:handoutMasterIdLst>
  <p:sldIdLst>
    <p:sldId id="266" r:id="rId12"/>
    <p:sldId id="304" r:id="rId13"/>
    <p:sldId id="300" r:id="rId14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2328"/>
    <a:srgbClr val="000000"/>
    <a:srgbClr val="59595B"/>
    <a:srgbClr val="F0F0F0"/>
    <a:srgbClr val="939598"/>
    <a:srgbClr val="231F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815" autoAdjust="0"/>
    <p:restoredTop sz="96485" autoAdjust="0"/>
  </p:normalViewPr>
  <p:slideViewPr>
    <p:cSldViewPr snapToGrid="0">
      <p:cViewPr>
        <p:scale>
          <a:sx n="91" d="100"/>
          <a:sy n="91" d="100"/>
        </p:scale>
        <p:origin x="192" y="-235"/>
      </p:cViewPr>
      <p:guideLst/>
    </p:cSldViewPr>
  </p:slideViewPr>
  <p:outlineViewPr>
    <p:cViewPr>
      <p:scale>
        <a:sx n="33" d="100"/>
        <a:sy n="33" d="100"/>
      </p:scale>
      <p:origin x="0" y="-1414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90" d="100"/>
          <a:sy n="90" d="100"/>
        </p:scale>
        <p:origin x="278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Master" Target="slideMasters/slideMaster7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35928AB-FB45-41B6-B767-6E1FCD9592A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D226F71-6231-44FB-B6F9-3F3800C9441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8B7CBE-E149-4CA6-8DBA-76B57A442203}" type="datetimeFigureOut">
              <a:rPr lang="en-GB" smtClean="0"/>
              <a:t>07/11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18812E-8804-4DAE-A81E-98036292BE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876627-61FB-497E-81F6-FC5F7D1B835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187E6D-93D8-415D-8B98-2E560EE5735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8939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21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sv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with image ful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7B26CFC-DD8F-413E-8D8F-ECDE90506C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35139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hlinkClick r:id="" action="ppaction://media"/>
            <a:extLst>
              <a:ext uri="{FF2B5EF4-FFF2-40B4-BE49-F238E27FC236}">
                <a16:creationId xmlns:a16="http://schemas.microsoft.com/office/drawing/2014/main" id="{D8CD8FD4-42F5-4228-BBAC-B5B0238F0E2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r="47608"/>
          <a:stretch>
            <a:fillRect/>
          </a:stretch>
        </p:blipFill>
        <p:spPr>
          <a:xfrm>
            <a:off x="6378001" y="0"/>
            <a:ext cx="5814581" cy="6858000"/>
          </a:xfrm>
          <a:custGeom>
            <a:avLst/>
            <a:gdLst>
              <a:gd name="connsiteX0" fmla="*/ 0 w 5814581"/>
              <a:gd name="connsiteY0" fmla="*/ 0 h 6858000"/>
              <a:gd name="connsiteX1" fmla="*/ 5814581 w 5814581"/>
              <a:gd name="connsiteY1" fmla="*/ 0 h 6858000"/>
              <a:gd name="connsiteX2" fmla="*/ 5814581 w 5814581"/>
              <a:gd name="connsiteY2" fmla="*/ 6858000 h 6858000"/>
              <a:gd name="connsiteX3" fmla="*/ 0 w 581458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4581" h="6858000">
                <a:moveTo>
                  <a:pt x="0" y="0"/>
                </a:moveTo>
                <a:lnTo>
                  <a:pt x="5814581" y="0"/>
                </a:lnTo>
                <a:lnTo>
                  <a:pt x="5814581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B7A8D25C-0FAC-4D82-AB1C-939EFBD51801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285025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</p:childTnLst>
        </p:cTn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#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hlinkClick r:id="" action="ppaction://media"/>
            <a:extLst>
              <a:ext uri="{FF2B5EF4-FFF2-40B4-BE49-F238E27FC236}">
                <a16:creationId xmlns:a16="http://schemas.microsoft.com/office/drawing/2014/main" id="{0238D2A0-DB3C-4C7B-BFFC-C9389AD6D131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r="52281"/>
          <a:stretch>
            <a:fillRect/>
          </a:stretch>
        </p:blipFill>
        <p:spPr>
          <a:xfrm>
            <a:off x="6374054" y="0"/>
            <a:ext cx="5817946" cy="6858000"/>
          </a:xfrm>
          <a:custGeom>
            <a:avLst/>
            <a:gdLst>
              <a:gd name="connsiteX0" fmla="*/ 0 w 5817946"/>
              <a:gd name="connsiteY0" fmla="*/ 0 h 6858000"/>
              <a:gd name="connsiteX1" fmla="*/ 5817946 w 5817946"/>
              <a:gd name="connsiteY1" fmla="*/ 0 h 6858000"/>
              <a:gd name="connsiteX2" fmla="*/ 5817946 w 5817946"/>
              <a:gd name="connsiteY2" fmla="*/ 6858000 h 6858000"/>
              <a:gd name="connsiteX3" fmla="*/ 0 w 581794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7946" h="6858000">
                <a:moveTo>
                  <a:pt x="0" y="0"/>
                </a:moveTo>
                <a:lnTo>
                  <a:pt x="5817946" y="0"/>
                </a:lnTo>
                <a:lnTo>
                  <a:pt x="581794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596F6254-901B-4F80-B3ED-3890E0D82CFB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13975499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1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"/>
                  </p:tgtEl>
                </p:cond>
              </p:nextCondLst>
            </p:seq>
          </p:childTnLst>
        </p:cTn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EC64EBF-DA96-4D09-B6A0-839B57073C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72836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8F4EE8F-F2A7-4157-BF05-F800ACCB3B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33087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854F08-E09D-43C4-93DA-C8C47BBB18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90468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28EC462-1631-40E8-B0D5-89831A4613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5587DDDD-DBF8-4307-9F46-3189076B1E0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26B359A-ACE1-438C-842E-0AD778A5BC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83945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04F1681-82CD-4EAF-83C7-52708EF47B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C8685BA-749B-4E69-9ED0-2B395E8AE1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FC4176D-6512-4994-8E8D-2D32A256554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0294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776853F-5114-4150-8985-629770C189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CDC7C8E-A2EE-4B12-9D11-4A9C62FEFD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52A28D3-3B72-4C61-8367-D3BF0CF8FF4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12849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grey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CE5D35A-252D-4E52-B59E-887EA3B8059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2725E1A9-F5F3-4DFB-833B-43237D6CDA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22783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black picture righ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8595740-23EA-4A7F-99CE-69F6FD2505E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4EEF054-662C-4787-A87A-4951A0016B0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6EDA23A-69F6-474A-A6FD-A25F98AF77B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084EE5F-6C4B-413E-B0DD-8A2CBA80FD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86889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46562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dark-grey picture right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1782213A-5203-4F9B-A874-7C6B03F2605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647F2CA-4D89-4F30-8416-98E60060566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5EA9EAC9-CBFD-4B5C-8FE6-28D45CE9FAD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9F4DE129-7BC9-481F-8B33-0063CF0D95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65035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1F5BD0-C32D-4D2D-9F81-F5B4B6D0A7F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9965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C3E122A-64FC-4F53-9E99-15779721305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02842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C2A2BD9-4896-4077-8A03-F1BC1549C1F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9571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1860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42375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50628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59BFD0F-6B49-48DF-92B3-F4D5EED86F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31979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8B5388F-93AE-4259-9994-2234545285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86368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blue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ape&#10;&#10;Description automatically generated with low confidence">
            <a:extLst>
              <a:ext uri="{FF2B5EF4-FFF2-40B4-BE49-F238E27FC236}">
                <a16:creationId xmlns:a16="http://schemas.microsoft.com/office/drawing/2014/main" id="{5BA5F046-D55E-4D3A-8D9D-68D237FB2D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47519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with image full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BADE169-F6EA-4730-84DD-DF2C98144C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80511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CE6E18C3-B18C-4259-BE5E-9992831168A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70D65982-D398-43E3-90F7-CEE79989B57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098F7AC7-6059-4E83-B969-AFC459700F0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84B93F48-E543-4E2A-836A-F0358B85ED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5288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30FD15DA-3BE8-47D2-96E2-19374E513E8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7486728F-362C-4E02-A94F-12738979020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BE66C64-9272-4FD8-9E61-381CA0D1C66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31318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25BB7299-E43B-4887-B7AB-E0EEC2F1AF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65C82EE-BAB0-4895-BD11-A7C5EC15180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E589C669-C739-4FE2-A258-D242C4C1ACD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68615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10519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19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B904D424-F312-42E5-B5A3-8F8DD3B05F9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16883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E340821-A047-490E-BAF7-4F3868F7EB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A968BA15-1A2D-4DC8-88C1-AE340AD81A2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289369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E340821-A047-490E-BAF7-4F3868F7EB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A968BA15-1A2D-4DC8-88C1-AE340AD81A2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76124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10519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19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B904D424-F312-42E5-B5A3-8F8DD3B05F9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727566EC-0A78-4984-9F77-67D3486704C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20610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A0D74F6A-2615-476E-AC1F-19E04356FB7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228812AD-D596-454C-9B7F-43B25290DA6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FB89E14B-5832-4E5F-AF7E-52A87D706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086495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6F59E21A-4AF8-4AC8-8219-86AF3F077E9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88E6C37B-B244-41A5-801F-6362B538062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9E8B9B13-5913-43D9-8CF3-E61AC4BC3C8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91763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4870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-grey with image full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F5328C5-1A3D-45BA-BB8D-438E09FA41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99055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pictures lef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2DAFBA46-EEC7-4052-9FA2-B8181C724B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254800" y="0"/>
            <a:ext cx="69372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E813E56-EED2-40BB-8944-270EADCEF53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2" y="0"/>
            <a:ext cx="5256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E0EBA4A4-BF0A-43A4-8D3D-EB264C3F68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254800" y="3427200"/>
            <a:ext cx="69372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D34A1E8D-3EB1-4F28-B551-F58E076020E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0" y="3427200"/>
            <a:ext cx="5256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75632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picture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2DAFBA46-EEC7-4052-9FA2-B8181C724B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-2" y="0"/>
            <a:ext cx="6084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E813E56-EED2-40BB-8944-270EADCEF53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83998" y="0"/>
            <a:ext cx="6108002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E0EBA4A4-BF0A-43A4-8D3D-EB264C3F68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3427200"/>
            <a:ext cx="6084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D34A1E8D-3EB1-4F28-B551-F58E076020E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84000" y="3427200"/>
            <a:ext cx="6108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25497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6FAFE8B0-0239-4281-A522-797E8CD2B961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60637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E3BA7EF1-9E25-47B8-B50C-58DA6008E799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70713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069194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D261289-4307-4AB1-BA5F-97F18882D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61539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56BF6F3-6E66-485D-A465-0E94226206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718314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56BF6F3-6E66-485D-A465-0E94226206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66609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  <a:br>
              <a:rPr lang="en-US"/>
            </a:br>
            <a:r>
              <a:rPr lang="en-US"/>
              <a:t>regel 2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679117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D261289-4307-4AB1-BA5F-97F18882D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56814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with 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88987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6FAFE8B0-0239-4281-A522-797E8CD2B961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49423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E3BA7EF1-9E25-47B8-B50C-58DA6008E799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889800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2C575653-961B-4ECF-8634-7F69D4D7F5BE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31765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hite with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UniversumWit slow loop_1">
            <a:hlinkClick r:id="" action="ppaction://media"/>
            <a:extLst>
              <a:ext uri="{FF2B5EF4-FFF2-40B4-BE49-F238E27FC236}">
                <a16:creationId xmlns:a16="http://schemas.microsoft.com/office/drawing/2014/main" id="{E2DDDE18-55F3-4C9C-92D3-156E4BA78910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C5A6904C-8433-470E-AA2E-D6EDC945E16E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1907397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black with video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itelSlide-Zwart-02">
            <a:hlinkClick r:id="" action="ppaction://media"/>
            <a:extLst>
              <a:ext uri="{FF2B5EF4-FFF2-40B4-BE49-F238E27FC236}">
                <a16:creationId xmlns:a16="http://schemas.microsoft.com/office/drawing/2014/main" id="{3FFCAD3A-CE81-47AF-B3E8-501583BF59BF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7654BB1-9854-475A-A7D8-5376F0C2577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0E03D01-8A3A-4B1E-814B-BDE053F093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B5828224-059E-4E26-BD83-DAC159E1F253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3381578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05F53D3-821D-49BE-80CC-D220C7D078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63298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9C91B8D-134A-4193-BBDD-96B51BBA84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603374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dark-grey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2285FE3-8AD2-44B8-9821-2A495C9EC8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70746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with image righ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57114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-grey with image right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53403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UniversumWit slow loop_1">
            <a:hlinkClick r:id="" action="ppaction://media"/>
            <a:extLst>
              <a:ext uri="{FF2B5EF4-FFF2-40B4-BE49-F238E27FC236}">
                <a16:creationId xmlns:a16="http://schemas.microsoft.com/office/drawing/2014/main" id="{AA9D2689-F75B-4671-9C00-8B69E030B31B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/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29D88BB8-CE53-491C-9B2E-2409CEEC8A3F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0893849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black #1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UniversumZwart slow loop">
            <a:hlinkClick r:id="" action="ppaction://media"/>
            <a:extLst>
              <a:ext uri="{FF2B5EF4-FFF2-40B4-BE49-F238E27FC236}">
                <a16:creationId xmlns:a16="http://schemas.microsoft.com/office/drawing/2014/main" id="{A5B4BBAE-2630-47FC-B95C-5BE3F173186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753389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7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167B42C4-430F-4C9B-A8A9-98F854EBC82D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53159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.sv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7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2.sv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image" Target="../media/image2.svg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25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image" Target="../media/image2.svg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slideLayout" Target="../slideLayouts/slideLayout55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7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8971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9" r:id="rId2"/>
    <p:sldLayoutId id="2147483847" r:id="rId3"/>
    <p:sldLayoutId id="2147483849" r:id="rId4"/>
    <p:sldLayoutId id="2147483666" r:id="rId5"/>
    <p:sldLayoutId id="2147483848" r:id="rId6"/>
    <p:sldLayoutId id="2147483850" r:id="rId7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7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7152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7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2061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52" r:id="rId2"/>
    <p:sldLayoutId id="2147483851" r:id="rId3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7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068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72" r:id="rId2"/>
    <p:sldLayoutId id="2147483874" r:id="rId3"/>
    <p:sldLayoutId id="2147483858" r:id="rId4"/>
    <p:sldLayoutId id="2147483873" r:id="rId5"/>
    <p:sldLayoutId id="2147483875" r:id="rId6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7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0969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7" r:id="rId2"/>
    <p:sldLayoutId id="2147483900" r:id="rId3"/>
    <p:sldLayoutId id="2147483964" r:id="rId4"/>
    <p:sldLayoutId id="2147483965" r:id="rId5"/>
    <p:sldLayoutId id="2147483966" r:id="rId6"/>
    <p:sldLayoutId id="2147483883" r:id="rId7"/>
    <p:sldLayoutId id="2147483896" r:id="rId8"/>
    <p:sldLayoutId id="2147483899" r:id="rId9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7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7935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19" r:id="rId2"/>
    <p:sldLayoutId id="2147483925" r:id="rId3"/>
    <p:sldLayoutId id="2147483910" r:id="rId4"/>
    <p:sldLayoutId id="2147483920" r:id="rId5"/>
    <p:sldLayoutId id="2147483927" r:id="rId6"/>
    <p:sldLayoutId id="2147483909" r:id="rId7"/>
    <p:sldLayoutId id="2147483921" r:id="rId8"/>
    <p:sldLayoutId id="2147483926" r:id="rId9"/>
    <p:sldLayoutId id="2147483911" r:id="rId10"/>
    <p:sldLayoutId id="2147483912" r:id="rId11"/>
    <p:sldLayoutId id="2147483913" r:id="rId12"/>
    <p:sldLayoutId id="2147483914" r:id="rId13"/>
    <p:sldLayoutId id="2147483922" r:id="rId14"/>
    <p:sldLayoutId id="2147483915" r:id="rId15"/>
    <p:sldLayoutId id="2147483923" r:id="rId16"/>
    <p:sldLayoutId id="2147483950" r:id="rId17"/>
    <p:sldLayoutId id="2147483951" r:id="rId18"/>
    <p:sldLayoutId id="2147483916" r:id="rId19"/>
    <p:sldLayoutId id="2147483924" r:id="rId20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7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4700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9" r:id="rId3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7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411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7" r:id="rId1"/>
    <p:sldLayoutId id="2147483821" r:id="rId2"/>
    <p:sldLayoutId id="2147483958" r:id="rId3"/>
    <p:sldLayoutId id="2147483763" r:id="rId4"/>
    <p:sldLayoutId id="2147483816" r:id="rId5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 descr="A screenshot of a computer&#10;&#10;Description automatically generated with low confidence">
            <a:extLst>
              <a:ext uri="{FF2B5EF4-FFF2-40B4-BE49-F238E27FC236}">
                <a16:creationId xmlns:a16="http://schemas.microsoft.com/office/drawing/2014/main" id="{F1B3DAEE-D892-459A-B3A6-6C9C620868B1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" r="39"/>
          <a:stretch/>
        </p:blipFill>
        <p:spPr/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975167BC-1318-460A-BE3F-83F3EBA9BE4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tandard title 1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E870F2D-8831-429B-944F-311201CA6E5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Subtitle spac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5381A12-C7B6-44BD-BC32-E8DADCB06B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Faculty / Department name</a:t>
            </a:r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E6FEC605-39DC-45E3-8D08-1DD3B9F296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82105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57004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 descr="A screenshot of a computer&#10;&#10;Description automatically generated with low confidence">
            <a:extLst>
              <a:ext uri="{FF2B5EF4-FFF2-40B4-BE49-F238E27FC236}">
                <a16:creationId xmlns:a16="http://schemas.microsoft.com/office/drawing/2014/main" id="{F1B3DAEE-D892-459A-B3A6-6C9C620868B1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" r="25"/>
          <a:stretch/>
        </p:blipFill>
        <p:spPr/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FE60E78-ADB2-44BB-AB47-1EE19481EDD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Opportunities, changing world and client’s digital expectations with our capabilities and context. Orpor sequam, aut arum voles que con natus sequi bla inverit aturem quam et fuga. Nem ipienim doluptatem evendem.</a:t>
            </a:r>
          </a:p>
          <a:p>
            <a:r>
              <a:rPr lang="en-US"/>
              <a:t>Opportunities, changing world and client’s digital expectations with our capabilities and context. Orpor sequam, aut arum voles que con natus sequi bla inverit aturem quam et fuga. Nem ipienim doluptatem evendem.</a:t>
            </a:r>
            <a:endParaRPr lang="en-US" dirty="0"/>
          </a:p>
        </p:txBody>
      </p:sp>
      <p:sp>
        <p:nvSpPr>
          <p:cNvPr id="10" name="Subtitle 9">
            <a:extLst>
              <a:ext uri="{FF2B5EF4-FFF2-40B4-BE49-F238E27FC236}">
                <a16:creationId xmlns:a16="http://schemas.microsoft.com/office/drawing/2014/main" id="{ECCFC9F6-1DA5-4C4A-B4E2-E46CEE5E1F9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Subtitle space</a:t>
            </a: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75167BC-1318-460A-BE3F-83F3EBA9BE4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Standard title 2</a:t>
            </a:r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BAAC4BD8-29BA-4CD6-BEE4-D7C5597618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161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IAAAAAAAAAAwAAAAMAAAAA/////wQAP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5lzes/JIxxKtEC/aPBU5fAFAAAAAAADAAAAAAADAAAAAwADAAAAAAD///////8DAAEA////////BAAAAAMAEAALcd0J7yYg5k6KhI936T1Cn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MwLAAAAAAAAAAAAACAB////////////////AAAA////////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QEDAAAAAgD///////8aAAZMaW5rZWRTaGFwZXNEYXRhUHJvcGVydHlfMAUAAAAAAAQAAAADAAQAAAABAAQAAAADAP///////wQAAAADAP///////wQAAAADAP///////wQAAAADAP///////wMABQEDAAAAAwD///////8lAAZMaW5rZWRTaGFwZVByZXNlbnRhdGlvblNldHRpbmdzRGF0YV8wBQAAAAEABAAAAAAABAAAAAIABAAAAAAABAAAAAI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lzes/JIxxKtEC/aPBU5fADRGF0YQAbAAAABExpbmtlZFNoYXBlRGF0YQAFAAAAAAACTmFtZQAZAAAATGlua2VkU2hhcGVzRGF0YVByb3BlcnR5ABBWZXJzaW9uAAAAAAAJTGFzdFdyaXRlALPGWCt/AQAAAAEA/////8YAxgAAAAVfaWQAEAAAAARx3QnvJiDmToqEj3fpPUKdA0RhdGEAUwAAAAhQcmVzZW50YXRpb25TY2FubmVkRm9yTGlua2VkU2hhcGVzAAECTnVtYmVyRm9ybWF0U2VwYXJhdG9yTW9kZQAKAAAAQXV0b21hdGljAAACTmFtZQAkAAAATGlua2VkU2hhcGVQcmVzZW50YXRpb25TZXR0aW5nc0RhdGEAEFZlcnNpb24AAAAAAAlMYXN0V3JpdGUA6MZYK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01 University of Twente - Titl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832272F2-E7F3-4E6C-8CEF-ABE047A3C0EE}"/>
    </a:ext>
  </a:extLst>
</a:theme>
</file>

<file path=ppt/theme/theme2.xml><?xml version="1.0" encoding="utf-8"?>
<a:theme xmlns:a="http://schemas.openxmlformats.org/drawingml/2006/main" name="02 University of Twente - Title Slides with Video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2224CB80-B425-40F1-8650-D539E65D2B65}"/>
    </a:ext>
  </a:extLst>
</a:theme>
</file>

<file path=ppt/theme/theme3.xml><?xml version="1.0" encoding="utf-8"?>
<a:theme xmlns:a="http://schemas.openxmlformats.org/drawingml/2006/main" name="03 University of Twente - Table of content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B5030AAE-B749-4E02-92A2-C75085070611}"/>
    </a:ext>
  </a:extLst>
</a:theme>
</file>

<file path=ppt/theme/theme4.xml><?xml version="1.0" encoding="utf-8"?>
<a:theme xmlns:a="http://schemas.openxmlformats.org/drawingml/2006/main" name="04 University of Twente - Chapter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063D27C9-D179-4D80-9B29-F59C8EA81DB6}"/>
    </a:ext>
  </a:extLst>
</a:theme>
</file>

<file path=ppt/theme/theme5.xml><?xml version="1.0" encoding="utf-8"?>
<a:theme xmlns:a="http://schemas.openxmlformats.org/drawingml/2006/main" name="05 University of Twente - Text slides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9146782F-52DA-4379-903B-104C0E66ADB6}"/>
    </a:ext>
  </a:extLst>
</a:theme>
</file>

<file path=ppt/theme/theme6.xml><?xml version="1.0" encoding="utf-8"?>
<a:theme xmlns:a="http://schemas.openxmlformats.org/drawingml/2006/main" name="06 University of Twente - Imag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010DF2A7-7B00-48E6-99B0-E3BB50D820EF}"/>
    </a:ext>
  </a:extLst>
</a:theme>
</file>

<file path=ppt/theme/theme7.xml><?xml version="1.0" encoding="utf-8"?>
<a:theme xmlns:a="http://schemas.openxmlformats.org/drawingml/2006/main" name="07 University of Twente - Video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8F776CAA-9388-4E9F-844C-333D6D1C5624}"/>
    </a:ext>
  </a:extLst>
</a:theme>
</file>

<file path=ppt/theme/theme8.xml><?xml version="1.0" encoding="utf-8"?>
<a:theme xmlns:a="http://schemas.openxmlformats.org/drawingml/2006/main" name="08 University of Twente - Closing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24173E57-9FB0-4CA9-83AA-49B33515D6D2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C4FEE6EF882A4FB70A5A26077DCAED" ma:contentTypeVersion="13" ma:contentTypeDescription="Create a new document." ma:contentTypeScope="" ma:versionID="49e41bc9d5bad482001e11fc9ad83f04">
  <xsd:schema xmlns:xsd="http://www.w3.org/2001/XMLSchema" xmlns:xs="http://www.w3.org/2001/XMLSchema" xmlns:p="http://schemas.microsoft.com/office/2006/metadata/properties" xmlns:ns2="727c934d-a4f9-455c-bd3c-4ed24313c07b" xmlns:ns3="7588473b-5163-453d-a6f6-dc82b1d277ac" targetNamespace="http://schemas.microsoft.com/office/2006/metadata/properties" ma:root="true" ma:fieldsID="e2d013fa9b88713dff642a71ae94edac" ns2:_="" ns3:_="">
    <xsd:import namespace="727c934d-a4f9-455c-bd3c-4ed24313c07b"/>
    <xsd:import namespace="7588473b-5163-453d-a6f6-dc82b1d277a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c934d-a4f9-455c-bd3c-4ed24313c07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588473b-5163-453d-a6f6-dc82b1d277ac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D6EA0CC-6001-48B9-A47A-9D635CE089A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23F005D-20C1-47D7-855C-C5C9D4199643}">
  <ds:schemaRefs>
    <ds:schemaRef ds:uri="http://schemas.microsoft.com/office/2006/metadata/properties"/>
    <ds:schemaRef ds:uri="http://purl.org/dc/dcmitype/"/>
    <ds:schemaRef ds:uri="http://schemas.microsoft.com/office/2006/documentManagement/types"/>
    <ds:schemaRef ds:uri="727c934d-a4f9-455c-bd3c-4ed24313c07b"/>
    <ds:schemaRef ds:uri="7588473b-5163-453d-a6f6-dc82b1d277ac"/>
    <ds:schemaRef ds:uri="http://www.w3.org/XML/1998/namespace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E20D6049-F084-4BFF-8539-2F9990EFC01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27c934d-a4f9-455c-bd3c-4ed24313c07b"/>
    <ds:schemaRef ds:uri="7588473b-5163-453d-a6f6-dc82b1d277a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</Template>
  <TotalTime>3</TotalTime>
  <Words>87</Words>
  <Application>Microsoft Office PowerPoint</Application>
  <PresentationFormat>Widescreen</PresentationFormat>
  <Paragraphs>8</Paragraphs>
  <Slides>3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8</vt:i4>
      </vt:variant>
      <vt:variant>
        <vt:lpstr>Slide Titles</vt:lpstr>
      </vt:variant>
      <vt:variant>
        <vt:i4>3</vt:i4>
      </vt:variant>
    </vt:vector>
  </HeadingPairs>
  <TitlesOfParts>
    <vt:vector size="14" baseType="lpstr">
      <vt:lpstr>Arial</vt:lpstr>
      <vt:lpstr>Arial Narrow</vt:lpstr>
      <vt:lpstr>Calibri</vt:lpstr>
      <vt:lpstr>01 University of Twente - Title Slides</vt:lpstr>
      <vt:lpstr>02 University of Twente - Title Slides with Video</vt:lpstr>
      <vt:lpstr>03 University of Twente - Table of contents</vt:lpstr>
      <vt:lpstr>04 University of Twente - Chapter slides</vt:lpstr>
      <vt:lpstr>05 University of Twente - Text slidesslides</vt:lpstr>
      <vt:lpstr>06 University of Twente - Image slides</vt:lpstr>
      <vt:lpstr>07 University of Twente - Video slides</vt:lpstr>
      <vt:lpstr>08 University of Twente - Closing slides</vt:lpstr>
      <vt:lpstr>Standard title 1</vt:lpstr>
      <vt:lpstr>PowerPoint Presentation</vt:lpstr>
      <vt:lpstr>Standard title 2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ndard title 1</dc:title>
  <dc:creator>Redeker, S. (Stach, Student B-EE)</dc:creator>
  <dc:description>Template by HQ Solutions</dc:description>
  <cp:lastModifiedBy>Redeker, S. (Stach, Student B-EE)</cp:lastModifiedBy>
  <cp:revision>1</cp:revision>
  <dcterms:created xsi:type="dcterms:W3CDTF">2022-11-07T08:19:15Z</dcterms:created>
  <dcterms:modified xsi:type="dcterms:W3CDTF">2022-11-07T08:22:24Z</dcterms:modified>
  <cp:version>004</cp:version>
</cp:coreProperties>
</file>